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542" r:id="rId2"/>
    <p:sldId id="603" r:id="rId3"/>
    <p:sldId id="604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C96BC3-CB91-4804-80C7-D48F9B6FE215}" v="6" dt="2024-11-14T20:40:43.7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57" autoAdjust="0"/>
  </p:normalViewPr>
  <p:slideViewPr>
    <p:cSldViewPr snapToGrid="0">
      <p:cViewPr varScale="1">
        <p:scale>
          <a:sx n="112" d="100"/>
          <a:sy n="112" d="100"/>
        </p:scale>
        <p:origin x="4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zcaya, Luis" userId="941d56fa-29e3-4736-bcb4-21f7e43fa728" providerId="ADAL" clId="{55C96BC3-CB91-4804-80C7-D48F9B6FE215}"/>
    <pc:docChg chg="undo custSel addSld delSld modSld">
      <pc:chgData name="Vizcaya, Luis" userId="941d56fa-29e3-4736-bcb4-21f7e43fa728" providerId="ADAL" clId="{55C96BC3-CB91-4804-80C7-D48F9B6FE215}" dt="2024-11-14T20:41:30.854" v="1618" actId="20577"/>
      <pc:docMkLst>
        <pc:docMk/>
      </pc:docMkLst>
      <pc:sldChg chg="modSp mod">
        <pc:chgData name="Vizcaya, Luis" userId="941d56fa-29e3-4736-bcb4-21f7e43fa728" providerId="ADAL" clId="{55C96BC3-CB91-4804-80C7-D48F9B6FE215}" dt="2024-11-14T20:41:30.854" v="1618" actId="20577"/>
        <pc:sldMkLst>
          <pc:docMk/>
          <pc:sldMk cId="1019282020" sldId="542"/>
        </pc:sldMkLst>
        <pc:spChg chg="mod">
          <ac:chgData name="Vizcaya, Luis" userId="941d56fa-29e3-4736-bcb4-21f7e43fa728" providerId="ADAL" clId="{55C96BC3-CB91-4804-80C7-D48F9B6FE215}" dt="2024-11-14T20:41:30.854" v="1618" actId="20577"/>
          <ac:spMkLst>
            <pc:docMk/>
            <pc:sldMk cId="1019282020" sldId="542"/>
            <ac:spMk id="12" creationId="{D496B1AC-DFE1-309C-9C20-E84F2B73D80C}"/>
          </ac:spMkLst>
        </pc:spChg>
        <pc:spChg chg="mod">
          <ac:chgData name="Vizcaya, Luis" userId="941d56fa-29e3-4736-bcb4-21f7e43fa728" providerId="ADAL" clId="{55C96BC3-CB91-4804-80C7-D48F9B6FE215}" dt="2024-11-13T13:45:26.217" v="583" actId="20577"/>
          <ac:spMkLst>
            <pc:docMk/>
            <pc:sldMk cId="1019282020" sldId="542"/>
            <ac:spMk id="13" creationId="{102EACC9-FD90-7B91-DF95-3507665A4147}"/>
          </ac:spMkLst>
        </pc:spChg>
      </pc:sldChg>
      <pc:sldChg chg="addSp delSp modSp add del mod">
        <pc:chgData name="Vizcaya, Luis" userId="941d56fa-29e3-4736-bcb4-21f7e43fa728" providerId="ADAL" clId="{55C96BC3-CB91-4804-80C7-D48F9B6FE215}" dt="2024-11-14T20:40:02.604" v="1607" actId="14100"/>
        <pc:sldMkLst>
          <pc:docMk/>
          <pc:sldMk cId="2626377468" sldId="603"/>
        </pc:sldMkLst>
        <pc:spChg chg="add del">
          <ac:chgData name="Vizcaya, Luis" userId="941d56fa-29e3-4736-bcb4-21f7e43fa728" providerId="ADAL" clId="{55C96BC3-CB91-4804-80C7-D48F9B6FE215}" dt="2024-11-13T13:49:22.986" v="697" actId="478"/>
          <ac:spMkLst>
            <pc:docMk/>
            <pc:sldMk cId="2626377468" sldId="603"/>
            <ac:spMk id="3" creationId="{27C1BD85-8639-FF1D-3F80-F560E2919635}"/>
          </ac:spMkLst>
        </pc:spChg>
        <pc:spChg chg="mod">
          <ac:chgData name="Vizcaya, Luis" userId="941d56fa-29e3-4736-bcb4-21f7e43fa728" providerId="ADAL" clId="{55C96BC3-CB91-4804-80C7-D48F9B6FE215}" dt="2024-11-13T13:40:35.681" v="34" actId="20577"/>
          <ac:spMkLst>
            <pc:docMk/>
            <pc:sldMk cId="2626377468" sldId="603"/>
            <ac:spMk id="5" creationId="{64CE0661-374A-DD89-8B9B-7229E4C2108A}"/>
          </ac:spMkLst>
        </pc:spChg>
        <pc:spChg chg="add del">
          <ac:chgData name="Vizcaya, Luis" userId="941d56fa-29e3-4736-bcb4-21f7e43fa728" providerId="ADAL" clId="{55C96BC3-CB91-4804-80C7-D48F9B6FE215}" dt="2024-11-13T13:54:07.875" v="751" actId="22"/>
          <ac:spMkLst>
            <pc:docMk/>
            <pc:sldMk cId="2626377468" sldId="603"/>
            <ac:spMk id="10" creationId="{3647F89C-DA85-3D37-281D-C1ADBA239AF6}"/>
          </ac:spMkLst>
        </pc:spChg>
        <pc:spChg chg="mod">
          <ac:chgData name="Vizcaya, Luis" userId="941d56fa-29e3-4736-bcb4-21f7e43fa728" providerId="ADAL" clId="{55C96BC3-CB91-4804-80C7-D48F9B6FE215}" dt="2024-11-14T20:40:02.604" v="1607" actId="14100"/>
          <ac:spMkLst>
            <pc:docMk/>
            <pc:sldMk cId="2626377468" sldId="603"/>
            <ac:spMk id="12" creationId="{C08612D4-7F3C-E274-0176-03F693E82E74}"/>
          </ac:spMkLst>
        </pc:spChg>
        <pc:picChg chg="add del mod">
          <ac:chgData name="Vizcaya, Luis" userId="941d56fa-29e3-4736-bcb4-21f7e43fa728" providerId="ADAL" clId="{55C96BC3-CB91-4804-80C7-D48F9B6FE215}" dt="2024-11-13T13:50:51.461" v="707" actId="478"/>
          <ac:picMkLst>
            <pc:docMk/>
            <pc:sldMk cId="2626377468" sldId="603"/>
            <ac:picMk id="6" creationId="{8FE7C24C-B443-B7FB-5647-EEC728A48B6C}"/>
          </ac:picMkLst>
        </pc:picChg>
        <pc:picChg chg="add mod">
          <ac:chgData name="Vizcaya, Luis" userId="941d56fa-29e3-4736-bcb4-21f7e43fa728" providerId="ADAL" clId="{55C96BC3-CB91-4804-80C7-D48F9B6FE215}" dt="2024-11-13T13:51:00.377" v="712" actId="1076"/>
          <ac:picMkLst>
            <pc:docMk/>
            <pc:sldMk cId="2626377468" sldId="603"/>
            <ac:picMk id="8" creationId="{D3A74261-7EE1-2EB7-1F6F-AB88666B6BFE}"/>
          </ac:picMkLst>
        </pc:picChg>
        <pc:picChg chg="del">
          <ac:chgData name="Vizcaya, Luis" userId="941d56fa-29e3-4736-bcb4-21f7e43fa728" providerId="ADAL" clId="{55C96BC3-CB91-4804-80C7-D48F9B6FE215}" dt="2024-11-13T13:40:37.643" v="35" actId="478"/>
          <ac:picMkLst>
            <pc:docMk/>
            <pc:sldMk cId="2626377468" sldId="603"/>
            <ac:picMk id="15" creationId="{B0E59F64-D269-0959-BFEF-957E8FDEEA0C}"/>
          </ac:picMkLst>
        </pc:picChg>
      </pc:sldChg>
      <pc:sldChg chg="del">
        <pc:chgData name="Vizcaya, Luis" userId="941d56fa-29e3-4736-bcb4-21f7e43fa728" providerId="ADAL" clId="{55C96BC3-CB91-4804-80C7-D48F9B6FE215}" dt="2024-11-13T13:40:05.373" v="0" actId="47"/>
        <pc:sldMkLst>
          <pc:docMk/>
          <pc:sldMk cId="111125698" sldId="604"/>
        </pc:sldMkLst>
      </pc:sldChg>
      <pc:sldChg chg="addSp delSp modSp add mod">
        <pc:chgData name="Vizcaya, Luis" userId="941d56fa-29e3-4736-bcb4-21f7e43fa728" providerId="ADAL" clId="{55C96BC3-CB91-4804-80C7-D48F9B6FE215}" dt="2024-11-14T20:40:28.895" v="1611" actId="20577"/>
        <pc:sldMkLst>
          <pc:docMk/>
          <pc:sldMk cId="2971134474" sldId="604"/>
        </pc:sldMkLst>
        <pc:spChg chg="mod">
          <ac:chgData name="Vizcaya, Luis" userId="941d56fa-29e3-4736-bcb4-21f7e43fa728" providerId="ADAL" clId="{55C96BC3-CB91-4804-80C7-D48F9B6FE215}" dt="2024-11-13T13:56:15.614" v="770" actId="20577"/>
          <ac:spMkLst>
            <pc:docMk/>
            <pc:sldMk cId="2971134474" sldId="604"/>
            <ac:spMk id="5" creationId="{64CE0661-374A-DD89-8B9B-7229E4C2108A}"/>
          </ac:spMkLst>
        </pc:spChg>
        <pc:spChg chg="mod">
          <ac:chgData name="Vizcaya, Luis" userId="941d56fa-29e3-4736-bcb4-21f7e43fa728" providerId="ADAL" clId="{55C96BC3-CB91-4804-80C7-D48F9B6FE215}" dt="2024-11-14T20:40:28.895" v="1611" actId="20577"/>
          <ac:spMkLst>
            <pc:docMk/>
            <pc:sldMk cId="2971134474" sldId="604"/>
            <ac:spMk id="12" creationId="{C08612D4-7F3C-E274-0176-03F693E82E74}"/>
          </ac:spMkLst>
        </pc:spChg>
        <pc:picChg chg="add mod modCrop">
          <ac:chgData name="Vizcaya, Luis" userId="941d56fa-29e3-4736-bcb4-21f7e43fa728" providerId="ADAL" clId="{55C96BC3-CB91-4804-80C7-D48F9B6FE215}" dt="2024-11-13T14:25:48.323" v="1362" actId="1076"/>
          <ac:picMkLst>
            <pc:docMk/>
            <pc:sldMk cId="2971134474" sldId="604"/>
            <ac:picMk id="4" creationId="{07C05CA0-9064-F090-422C-04B968543BDF}"/>
          </ac:picMkLst>
        </pc:picChg>
        <pc:picChg chg="del">
          <ac:chgData name="Vizcaya, Luis" userId="941d56fa-29e3-4736-bcb4-21f7e43fa728" providerId="ADAL" clId="{55C96BC3-CB91-4804-80C7-D48F9B6FE215}" dt="2024-11-13T13:57:42.916" v="839" actId="478"/>
          <ac:picMkLst>
            <pc:docMk/>
            <pc:sldMk cId="2971134474" sldId="604"/>
            <ac:picMk id="8" creationId="{D3A74261-7EE1-2EB7-1F6F-AB88666B6BFE}"/>
          </ac:picMkLst>
        </pc:picChg>
      </pc:sldChg>
      <pc:sldChg chg="delSp add del mod">
        <pc:chgData name="Vizcaya, Luis" userId="941d56fa-29e3-4736-bcb4-21f7e43fa728" providerId="ADAL" clId="{55C96BC3-CB91-4804-80C7-D48F9B6FE215}" dt="2024-11-14T20:41:02.467" v="1614" actId="47"/>
        <pc:sldMkLst>
          <pc:docMk/>
          <pc:sldMk cId="3564095834" sldId="605"/>
        </pc:sldMkLst>
        <pc:picChg chg="del">
          <ac:chgData name="Vizcaya, Luis" userId="941d56fa-29e3-4736-bcb4-21f7e43fa728" providerId="ADAL" clId="{55C96BC3-CB91-4804-80C7-D48F9B6FE215}" dt="2024-11-14T20:40:54.105" v="1613" actId="478"/>
          <ac:picMkLst>
            <pc:docMk/>
            <pc:sldMk cId="3564095834" sldId="605"/>
            <ac:picMk id="4" creationId="{07C05CA0-9064-F090-422C-04B968543BDF}"/>
          </ac:picMkLst>
        </pc:picChg>
      </pc:sldChg>
      <pc:sldChg chg="del">
        <pc:chgData name="Vizcaya, Luis" userId="941d56fa-29e3-4736-bcb4-21f7e43fa728" providerId="ADAL" clId="{55C96BC3-CB91-4804-80C7-D48F9B6FE215}" dt="2024-11-13T13:40:05.699" v="2" actId="47"/>
        <pc:sldMkLst>
          <pc:docMk/>
          <pc:sldMk cId="2856369680" sldId="618"/>
        </pc:sldMkLst>
      </pc:sldChg>
      <pc:sldChg chg="del">
        <pc:chgData name="Vizcaya, Luis" userId="941d56fa-29e3-4736-bcb4-21f7e43fa728" providerId="ADAL" clId="{55C96BC3-CB91-4804-80C7-D48F9B6FE215}" dt="2024-11-13T13:40:05.548" v="1" actId="47"/>
        <pc:sldMkLst>
          <pc:docMk/>
          <pc:sldMk cId="2194104789" sldId="619"/>
        </pc:sldMkLst>
      </pc:sldChg>
      <pc:sldMasterChg chg="addSldLayout delSldLayout">
        <pc:chgData name="Vizcaya, Luis" userId="941d56fa-29e3-4736-bcb4-21f7e43fa728" providerId="ADAL" clId="{55C96BC3-CB91-4804-80C7-D48F9B6FE215}" dt="2024-11-13T13:40:06.894" v="4" actId="47"/>
        <pc:sldMasterMkLst>
          <pc:docMk/>
          <pc:sldMasterMk cId="1117775800" sldId="2147483648"/>
        </pc:sldMasterMkLst>
        <pc:sldLayoutChg chg="del">
          <pc:chgData name="Vizcaya, Luis" userId="941d56fa-29e3-4736-bcb4-21f7e43fa728" providerId="ADAL" clId="{55C96BC3-CB91-4804-80C7-D48F9B6FE215}" dt="2024-11-13T13:40:05.548" v="1" actId="47"/>
          <pc:sldLayoutMkLst>
            <pc:docMk/>
            <pc:sldMasterMk cId="1117775800" sldId="2147483648"/>
            <pc:sldLayoutMk cId="4053320296" sldId="2147483661"/>
          </pc:sldLayoutMkLst>
        </pc:sldLayoutChg>
        <pc:sldLayoutChg chg="add del">
          <pc:chgData name="Vizcaya, Luis" userId="941d56fa-29e3-4736-bcb4-21f7e43fa728" providerId="ADAL" clId="{55C96BC3-CB91-4804-80C7-D48F9B6FE215}" dt="2024-11-13T13:40:06.894" v="4" actId="47"/>
          <pc:sldLayoutMkLst>
            <pc:docMk/>
            <pc:sldMasterMk cId="1117775800" sldId="2147483648"/>
            <pc:sldLayoutMk cId="211033309" sldId="2147483662"/>
          </pc:sldLayoutMkLst>
        </pc:sldLayoutChg>
        <pc:sldLayoutChg chg="del">
          <pc:chgData name="Vizcaya, Luis" userId="941d56fa-29e3-4736-bcb4-21f7e43fa728" providerId="ADAL" clId="{55C96BC3-CB91-4804-80C7-D48F9B6FE215}" dt="2024-11-13T13:40:05.699" v="2" actId="47"/>
          <pc:sldLayoutMkLst>
            <pc:docMk/>
            <pc:sldMasterMk cId="1117775800" sldId="2147483648"/>
            <pc:sldLayoutMk cId="2298051611" sldId="214748366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98D5C2-2CD7-4A3D-9C3F-357CB8B84859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2D8B79-EBCA-4152-9D68-FDB117A842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82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2ACA4-39F8-85BE-95E2-39FB023651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D551D7-BB2C-18BF-668F-7E72352E8C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460511-FB71-FC81-910D-85D5B2C48E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469871-692C-240B-0644-25A5B05BC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42C199-3D1A-208D-DC22-7F284A254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9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E13D4-4298-44FC-2867-63BD4B40A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854ED9-ADEB-F427-E46D-23BD1CD9DF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B223D8-8185-16C1-632A-8506ADA8DA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01D89-2CA0-B9AE-2B59-4351D320E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C29368-B9BE-A7E4-07F2-7DEAE16F3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950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BE96CE-566E-2E59-577B-82721089EB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4197C9-1BB0-0B63-083A-6E4FC128B6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ACB494-0701-3E38-54E9-11529F00A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57B246-D5B9-71B1-4241-E954AE0F3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DA34C3-0A2F-1728-157B-BF96B7988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7490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EE6772C1-BCE7-E34F-9502-5D95A1AD77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32803" y="-19594"/>
            <a:ext cx="6166916" cy="6915799"/>
          </a:xfrm>
          <a:custGeom>
            <a:avLst/>
            <a:gdLst>
              <a:gd name="connsiteX0" fmla="*/ 4245312 w 5584369"/>
              <a:gd name="connsiteY0" fmla="*/ 0 h 5142995"/>
              <a:gd name="connsiteX1" fmla="*/ 5584369 w 5584369"/>
              <a:gd name="connsiteY1" fmla="*/ 0 h 5142995"/>
              <a:gd name="connsiteX2" fmla="*/ 5584369 w 5584369"/>
              <a:gd name="connsiteY2" fmla="*/ 5142995 h 5142995"/>
              <a:gd name="connsiteX3" fmla="*/ 312324 w 5584369"/>
              <a:gd name="connsiteY3" fmla="*/ 5142995 h 5142995"/>
              <a:gd name="connsiteX4" fmla="*/ 206970 w 5584369"/>
              <a:gd name="connsiteY4" fmla="*/ 5037644 h 5142995"/>
              <a:gd name="connsiteX5" fmla="*/ 207063 w 5584369"/>
              <a:gd name="connsiteY5" fmla="*/ 5037644 h 5142995"/>
              <a:gd name="connsiteX6" fmla="*/ 0 w 5584369"/>
              <a:gd name="connsiteY6" fmla="*/ 4537838 h 5142995"/>
              <a:gd name="connsiteX7" fmla="*/ 207063 w 5584369"/>
              <a:gd name="connsiteY7" fmla="*/ 4038031 h 5142995"/>
              <a:gd name="connsiteX0" fmla="*/ 4245312 w 5584369"/>
              <a:gd name="connsiteY0" fmla="*/ 0 h 5142995"/>
              <a:gd name="connsiteX1" fmla="*/ 5584369 w 5584369"/>
              <a:gd name="connsiteY1" fmla="*/ 0 h 5142995"/>
              <a:gd name="connsiteX2" fmla="*/ 5584369 w 5584369"/>
              <a:gd name="connsiteY2" fmla="*/ 5142995 h 5142995"/>
              <a:gd name="connsiteX3" fmla="*/ 312324 w 5584369"/>
              <a:gd name="connsiteY3" fmla="*/ 5142995 h 5142995"/>
              <a:gd name="connsiteX4" fmla="*/ 206970 w 5584369"/>
              <a:gd name="connsiteY4" fmla="*/ 5037644 h 5142995"/>
              <a:gd name="connsiteX5" fmla="*/ 207063 w 5584369"/>
              <a:gd name="connsiteY5" fmla="*/ 5037644 h 5142995"/>
              <a:gd name="connsiteX6" fmla="*/ 0 w 5584369"/>
              <a:gd name="connsiteY6" fmla="*/ 4537838 h 5142995"/>
              <a:gd name="connsiteX7" fmla="*/ 207063 w 5584369"/>
              <a:gd name="connsiteY7" fmla="*/ 4038031 h 5142995"/>
              <a:gd name="connsiteX8" fmla="*/ 4245312 w 5584369"/>
              <a:gd name="connsiteY8" fmla="*/ 0 h 5142995"/>
              <a:gd name="connsiteX0" fmla="*/ 4245312 w 5584369"/>
              <a:gd name="connsiteY0" fmla="*/ 0 h 5142995"/>
              <a:gd name="connsiteX1" fmla="*/ 4604185 w 5584369"/>
              <a:gd name="connsiteY1" fmla="*/ 0 h 5142995"/>
              <a:gd name="connsiteX2" fmla="*/ 5584369 w 5584369"/>
              <a:gd name="connsiteY2" fmla="*/ 5142995 h 5142995"/>
              <a:gd name="connsiteX3" fmla="*/ 312324 w 5584369"/>
              <a:gd name="connsiteY3" fmla="*/ 5142995 h 5142995"/>
              <a:gd name="connsiteX4" fmla="*/ 206970 w 5584369"/>
              <a:gd name="connsiteY4" fmla="*/ 5037644 h 5142995"/>
              <a:gd name="connsiteX5" fmla="*/ 207063 w 5584369"/>
              <a:gd name="connsiteY5" fmla="*/ 5037644 h 5142995"/>
              <a:gd name="connsiteX6" fmla="*/ 0 w 5584369"/>
              <a:gd name="connsiteY6" fmla="*/ 4537838 h 5142995"/>
              <a:gd name="connsiteX7" fmla="*/ 207063 w 5584369"/>
              <a:gd name="connsiteY7" fmla="*/ 4038031 h 5142995"/>
              <a:gd name="connsiteX8" fmla="*/ 4245312 w 5584369"/>
              <a:gd name="connsiteY8" fmla="*/ 0 h 5142995"/>
              <a:gd name="connsiteX0" fmla="*/ 4245312 w 4604185"/>
              <a:gd name="connsiteY0" fmla="*/ 0 h 5156158"/>
              <a:gd name="connsiteX1" fmla="*/ 4604185 w 4604185"/>
              <a:gd name="connsiteY1" fmla="*/ 0 h 5156158"/>
              <a:gd name="connsiteX2" fmla="*/ 4591028 w 4604185"/>
              <a:gd name="connsiteY2" fmla="*/ 5156158 h 5156158"/>
              <a:gd name="connsiteX3" fmla="*/ 312324 w 4604185"/>
              <a:gd name="connsiteY3" fmla="*/ 5142995 h 5156158"/>
              <a:gd name="connsiteX4" fmla="*/ 206970 w 4604185"/>
              <a:gd name="connsiteY4" fmla="*/ 5037644 h 5156158"/>
              <a:gd name="connsiteX5" fmla="*/ 207063 w 4604185"/>
              <a:gd name="connsiteY5" fmla="*/ 5037644 h 5156158"/>
              <a:gd name="connsiteX6" fmla="*/ 0 w 4604185"/>
              <a:gd name="connsiteY6" fmla="*/ 4537838 h 5156158"/>
              <a:gd name="connsiteX7" fmla="*/ 207063 w 4604185"/>
              <a:gd name="connsiteY7" fmla="*/ 4038031 h 5156158"/>
              <a:gd name="connsiteX8" fmla="*/ 4245312 w 4604185"/>
              <a:gd name="connsiteY8" fmla="*/ 0 h 5156158"/>
              <a:gd name="connsiteX0" fmla="*/ 4245312 w 4630879"/>
              <a:gd name="connsiteY0" fmla="*/ 0 h 5156158"/>
              <a:gd name="connsiteX1" fmla="*/ 4604185 w 4630879"/>
              <a:gd name="connsiteY1" fmla="*/ 0 h 5156158"/>
              <a:gd name="connsiteX2" fmla="*/ 4630499 w 4630879"/>
              <a:gd name="connsiteY2" fmla="*/ 5156158 h 5156158"/>
              <a:gd name="connsiteX3" fmla="*/ 312324 w 4630879"/>
              <a:gd name="connsiteY3" fmla="*/ 5142995 h 5156158"/>
              <a:gd name="connsiteX4" fmla="*/ 206970 w 4630879"/>
              <a:gd name="connsiteY4" fmla="*/ 5037644 h 5156158"/>
              <a:gd name="connsiteX5" fmla="*/ 207063 w 4630879"/>
              <a:gd name="connsiteY5" fmla="*/ 5037644 h 5156158"/>
              <a:gd name="connsiteX6" fmla="*/ 0 w 4630879"/>
              <a:gd name="connsiteY6" fmla="*/ 4537838 h 5156158"/>
              <a:gd name="connsiteX7" fmla="*/ 207063 w 4630879"/>
              <a:gd name="connsiteY7" fmla="*/ 4038031 h 5156158"/>
              <a:gd name="connsiteX8" fmla="*/ 4245312 w 4630879"/>
              <a:gd name="connsiteY8" fmla="*/ 0 h 5156158"/>
              <a:gd name="connsiteX0" fmla="*/ 4245312 w 4631295"/>
              <a:gd name="connsiteY0" fmla="*/ 13162 h 5169320"/>
              <a:gd name="connsiteX1" fmla="*/ 4623920 w 4631295"/>
              <a:gd name="connsiteY1" fmla="*/ 0 h 5169320"/>
              <a:gd name="connsiteX2" fmla="*/ 4630499 w 4631295"/>
              <a:gd name="connsiteY2" fmla="*/ 5169320 h 5169320"/>
              <a:gd name="connsiteX3" fmla="*/ 312324 w 4631295"/>
              <a:gd name="connsiteY3" fmla="*/ 5156157 h 5169320"/>
              <a:gd name="connsiteX4" fmla="*/ 206970 w 4631295"/>
              <a:gd name="connsiteY4" fmla="*/ 5050806 h 5169320"/>
              <a:gd name="connsiteX5" fmla="*/ 207063 w 4631295"/>
              <a:gd name="connsiteY5" fmla="*/ 5050806 h 5169320"/>
              <a:gd name="connsiteX6" fmla="*/ 0 w 4631295"/>
              <a:gd name="connsiteY6" fmla="*/ 4551000 h 5169320"/>
              <a:gd name="connsiteX7" fmla="*/ 207063 w 4631295"/>
              <a:gd name="connsiteY7" fmla="*/ 4051193 h 5169320"/>
              <a:gd name="connsiteX8" fmla="*/ 4245312 w 4631295"/>
              <a:gd name="connsiteY8" fmla="*/ 13162 h 5169320"/>
              <a:gd name="connsiteX0" fmla="*/ 4265048 w 4631295"/>
              <a:gd name="connsiteY0" fmla="*/ 0 h 5182484"/>
              <a:gd name="connsiteX1" fmla="*/ 4623920 w 4631295"/>
              <a:gd name="connsiteY1" fmla="*/ 13164 h 5182484"/>
              <a:gd name="connsiteX2" fmla="*/ 4630499 w 4631295"/>
              <a:gd name="connsiteY2" fmla="*/ 5182484 h 5182484"/>
              <a:gd name="connsiteX3" fmla="*/ 312324 w 4631295"/>
              <a:gd name="connsiteY3" fmla="*/ 5169321 h 5182484"/>
              <a:gd name="connsiteX4" fmla="*/ 206970 w 4631295"/>
              <a:gd name="connsiteY4" fmla="*/ 5063970 h 5182484"/>
              <a:gd name="connsiteX5" fmla="*/ 207063 w 4631295"/>
              <a:gd name="connsiteY5" fmla="*/ 5063970 h 5182484"/>
              <a:gd name="connsiteX6" fmla="*/ 0 w 4631295"/>
              <a:gd name="connsiteY6" fmla="*/ 4564164 h 5182484"/>
              <a:gd name="connsiteX7" fmla="*/ 207063 w 4631295"/>
              <a:gd name="connsiteY7" fmla="*/ 4064357 h 5182484"/>
              <a:gd name="connsiteX8" fmla="*/ 4265048 w 4631295"/>
              <a:gd name="connsiteY8" fmla="*/ 0 h 5182484"/>
              <a:gd name="connsiteX0" fmla="*/ 4265048 w 4631295"/>
              <a:gd name="connsiteY0" fmla="*/ 0 h 5182484"/>
              <a:gd name="connsiteX1" fmla="*/ 4623920 w 4631295"/>
              <a:gd name="connsiteY1" fmla="*/ 1 h 5182484"/>
              <a:gd name="connsiteX2" fmla="*/ 4630499 w 4631295"/>
              <a:gd name="connsiteY2" fmla="*/ 5182484 h 5182484"/>
              <a:gd name="connsiteX3" fmla="*/ 312324 w 4631295"/>
              <a:gd name="connsiteY3" fmla="*/ 5169321 h 5182484"/>
              <a:gd name="connsiteX4" fmla="*/ 206970 w 4631295"/>
              <a:gd name="connsiteY4" fmla="*/ 5063970 h 5182484"/>
              <a:gd name="connsiteX5" fmla="*/ 207063 w 4631295"/>
              <a:gd name="connsiteY5" fmla="*/ 5063970 h 5182484"/>
              <a:gd name="connsiteX6" fmla="*/ 0 w 4631295"/>
              <a:gd name="connsiteY6" fmla="*/ 4564164 h 5182484"/>
              <a:gd name="connsiteX7" fmla="*/ 207063 w 4631295"/>
              <a:gd name="connsiteY7" fmla="*/ 4064357 h 5182484"/>
              <a:gd name="connsiteX8" fmla="*/ 4265048 w 4631295"/>
              <a:gd name="connsiteY8" fmla="*/ 0 h 5182484"/>
              <a:gd name="connsiteX0" fmla="*/ 4265048 w 4631295"/>
              <a:gd name="connsiteY0" fmla="*/ 0 h 5175902"/>
              <a:gd name="connsiteX1" fmla="*/ 4623920 w 4631295"/>
              <a:gd name="connsiteY1" fmla="*/ 1 h 5175902"/>
              <a:gd name="connsiteX2" fmla="*/ 4630499 w 4631295"/>
              <a:gd name="connsiteY2" fmla="*/ 5175902 h 5175902"/>
              <a:gd name="connsiteX3" fmla="*/ 312324 w 4631295"/>
              <a:gd name="connsiteY3" fmla="*/ 5169321 h 5175902"/>
              <a:gd name="connsiteX4" fmla="*/ 206970 w 4631295"/>
              <a:gd name="connsiteY4" fmla="*/ 5063970 h 5175902"/>
              <a:gd name="connsiteX5" fmla="*/ 207063 w 4631295"/>
              <a:gd name="connsiteY5" fmla="*/ 5063970 h 5175902"/>
              <a:gd name="connsiteX6" fmla="*/ 0 w 4631295"/>
              <a:gd name="connsiteY6" fmla="*/ 4564164 h 5175902"/>
              <a:gd name="connsiteX7" fmla="*/ 207063 w 4631295"/>
              <a:gd name="connsiteY7" fmla="*/ 4064357 h 5175902"/>
              <a:gd name="connsiteX8" fmla="*/ 4265048 w 4631295"/>
              <a:gd name="connsiteY8" fmla="*/ 0 h 5175902"/>
              <a:gd name="connsiteX0" fmla="*/ 4265048 w 4625187"/>
              <a:gd name="connsiteY0" fmla="*/ 0 h 5189065"/>
              <a:gd name="connsiteX1" fmla="*/ 4623920 w 4625187"/>
              <a:gd name="connsiteY1" fmla="*/ 1 h 5189065"/>
              <a:gd name="connsiteX2" fmla="*/ 4623921 w 4625187"/>
              <a:gd name="connsiteY2" fmla="*/ 5189065 h 5189065"/>
              <a:gd name="connsiteX3" fmla="*/ 312324 w 4625187"/>
              <a:gd name="connsiteY3" fmla="*/ 5169321 h 5189065"/>
              <a:gd name="connsiteX4" fmla="*/ 206970 w 4625187"/>
              <a:gd name="connsiteY4" fmla="*/ 5063970 h 5189065"/>
              <a:gd name="connsiteX5" fmla="*/ 207063 w 4625187"/>
              <a:gd name="connsiteY5" fmla="*/ 5063970 h 5189065"/>
              <a:gd name="connsiteX6" fmla="*/ 0 w 4625187"/>
              <a:gd name="connsiteY6" fmla="*/ 4564164 h 5189065"/>
              <a:gd name="connsiteX7" fmla="*/ 207063 w 4625187"/>
              <a:gd name="connsiteY7" fmla="*/ 4064357 h 5189065"/>
              <a:gd name="connsiteX8" fmla="*/ 4265048 w 4625187"/>
              <a:gd name="connsiteY8" fmla="*/ 0 h 5189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25187" h="5189065">
                <a:moveTo>
                  <a:pt x="4265048" y="0"/>
                </a:moveTo>
                <a:lnTo>
                  <a:pt x="4623920" y="1"/>
                </a:lnTo>
                <a:cubicBezTo>
                  <a:pt x="4619534" y="1718720"/>
                  <a:pt x="4628307" y="3470346"/>
                  <a:pt x="4623921" y="5189065"/>
                </a:cubicBezTo>
                <a:lnTo>
                  <a:pt x="312324" y="5169321"/>
                </a:lnTo>
                <a:lnTo>
                  <a:pt x="206970" y="5063970"/>
                </a:lnTo>
                <a:lnTo>
                  <a:pt x="207063" y="5063970"/>
                </a:lnTo>
                <a:cubicBezTo>
                  <a:pt x="74488" y="4931412"/>
                  <a:pt x="0" y="4751626"/>
                  <a:pt x="0" y="4564164"/>
                </a:cubicBezTo>
                <a:cubicBezTo>
                  <a:pt x="0" y="4376696"/>
                  <a:pt x="74488" y="4196916"/>
                  <a:pt x="207063" y="4064357"/>
                </a:cubicBezTo>
                <a:lnTo>
                  <a:pt x="426504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383202"/>
              </p:ext>
            </p:ext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E1B95B4-61E7-47A7-B1BB-2BD732C556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33" b="1" i="0" baseline="0" dirty="0" err="1">
              <a:latin typeface="Arial" panose="020B0604020202020204" pitchFamily="34" charset="0"/>
              <a:ea typeface="Roboto Medium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Slide Number Placeholder 8">
            <a:extLst>
              <a:ext uri="{FF2B5EF4-FFF2-40B4-BE49-F238E27FC236}">
                <a16:creationId xmlns:a16="http://schemas.microsoft.com/office/drawing/2014/main" id="{409E2C3C-0150-B26C-E9A7-E66A49389B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237133" y="6366049"/>
            <a:ext cx="2743200" cy="2632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fld id="{CC6EE8D8-BDE1-7940-A77B-94F3F186491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696F939E-AE52-0B4C-1202-26AD3C6704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03200" y="1087991"/>
            <a:ext cx="6760331" cy="3661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67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Optional Subtitle He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D790152-0FE7-37FD-118B-7BAD91FCE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596901"/>
            <a:ext cx="6760329" cy="439961"/>
          </a:xfrm>
        </p:spPr>
        <p:txBody>
          <a:bodyPr vert="horz" tIns="0" rIns="0" anchor="t">
            <a:noAutofit/>
          </a:bodyPr>
          <a:lstStyle>
            <a:lvl1pPr>
              <a:defRPr sz="2400"/>
            </a:lvl1pPr>
          </a:lstStyle>
          <a:p>
            <a:r>
              <a:rPr lang="en-GB" dirty="0"/>
              <a:t>Report slide title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DDB3D42A-531D-83A1-B195-068EFF37206B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203201" y="1641225"/>
            <a:ext cx="6760329" cy="4434112"/>
          </a:xfrm>
        </p:spPr>
        <p:txBody>
          <a:bodyPr lIns="0" tIns="0" rIns="0" bIns="0">
            <a:noAutofit/>
          </a:bodyPr>
          <a:lstStyle>
            <a:lvl3pPr>
              <a:buSzPct val="110000"/>
              <a:defRPr/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262DB0-1614-0D06-269A-30B124F54FEE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203200" y="5914468"/>
            <a:ext cx="6760331" cy="15401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067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Optional source here </a:t>
            </a:r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263B32A1-4200-7AF0-6548-285E324C9B4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3201" y="215387"/>
            <a:ext cx="5845929" cy="2016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33"/>
            </a:lvl1pPr>
            <a:lvl3pPr>
              <a:buSzPct val="110000"/>
              <a:defRPr/>
            </a:lvl3pPr>
          </a:lstStyle>
          <a:p>
            <a:pPr lvl="0"/>
            <a:r>
              <a:rPr lang="en-GB" dirty="0"/>
              <a:t>Click to add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333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-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EE2C27-9CA5-411D-921C-A90DB69414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07844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EE2C27-9CA5-411D-921C-A90DB6941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0F9AE06-2519-46DE-A80F-B378A9363F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GB" sz="3800" b="1" i="0" baseline="0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CE3D56C-6066-D350-24D1-E6E237EDEB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0070" y="227118"/>
            <a:ext cx="5782733" cy="366183"/>
          </a:xfrm>
          <a:prstGeom prst="rect">
            <a:avLst/>
          </a:prstGeom>
        </p:spPr>
        <p:txBody>
          <a:bodyPr/>
          <a:lstStyle>
            <a:lvl1pPr>
              <a:defRPr sz="933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8C375C-D582-9629-91BE-5E292DCB6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6EE8D8-BDE1-7940-A77B-94F3F186491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29566F1F-F557-5B33-CFD4-031CC7AAB7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068" y="2728220"/>
            <a:ext cx="4794251" cy="53895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733" b="0">
                <a:solidFill>
                  <a:srgbClr val="0923FF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  <a:endParaRPr lang="en-US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3E04EEB-8768-9F04-8984-9A48EE36429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0069" y="3542558"/>
            <a:ext cx="4794251" cy="6252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pic>
        <p:nvPicPr>
          <p:cNvPr id="6" name="Picture 5" descr="A person standing on a mountain top&#10;&#10;Description automatically generated with low confidence">
            <a:extLst>
              <a:ext uri="{FF2B5EF4-FFF2-40B4-BE49-F238E27FC236}">
                <a16:creationId xmlns:a16="http://schemas.microsoft.com/office/drawing/2014/main" id="{B9979814-9192-1B78-F290-256E7D0BEA1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8673" r="8673"/>
          <a:stretch/>
        </p:blipFill>
        <p:spPr>
          <a:xfrm>
            <a:off x="4746174" y="1"/>
            <a:ext cx="7445825" cy="6857327"/>
          </a:xfrm>
          <a:custGeom>
            <a:avLst/>
            <a:gdLst>
              <a:gd name="connsiteX0" fmla="*/ 4245312 w 5584369"/>
              <a:gd name="connsiteY0" fmla="*/ 0 h 5142995"/>
              <a:gd name="connsiteX1" fmla="*/ 5584369 w 5584369"/>
              <a:gd name="connsiteY1" fmla="*/ 0 h 5142995"/>
              <a:gd name="connsiteX2" fmla="*/ 5584369 w 5584369"/>
              <a:gd name="connsiteY2" fmla="*/ 5142995 h 5142995"/>
              <a:gd name="connsiteX3" fmla="*/ 312324 w 5584369"/>
              <a:gd name="connsiteY3" fmla="*/ 5142995 h 5142995"/>
              <a:gd name="connsiteX4" fmla="*/ 206970 w 5584369"/>
              <a:gd name="connsiteY4" fmla="*/ 5037644 h 5142995"/>
              <a:gd name="connsiteX5" fmla="*/ 207063 w 5584369"/>
              <a:gd name="connsiteY5" fmla="*/ 5037644 h 5142995"/>
              <a:gd name="connsiteX6" fmla="*/ 0 w 5584369"/>
              <a:gd name="connsiteY6" fmla="*/ 4537838 h 5142995"/>
              <a:gd name="connsiteX7" fmla="*/ 207063 w 5584369"/>
              <a:gd name="connsiteY7" fmla="*/ 4038031 h 5142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84369" h="5142995">
                <a:moveTo>
                  <a:pt x="4245312" y="0"/>
                </a:moveTo>
                <a:lnTo>
                  <a:pt x="5584369" y="0"/>
                </a:lnTo>
                <a:lnTo>
                  <a:pt x="5584369" y="5142995"/>
                </a:lnTo>
                <a:lnTo>
                  <a:pt x="312324" y="5142995"/>
                </a:lnTo>
                <a:lnTo>
                  <a:pt x="206970" y="5037644"/>
                </a:lnTo>
                <a:lnTo>
                  <a:pt x="207063" y="5037644"/>
                </a:lnTo>
                <a:cubicBezTo>
                  <a:pt x="74488" y="4905086"/>
                  <a:pt x="0" y="4725300"/>
                  <a:pt x="0" y="4537838"/>
                </a:cubicBezTo>
                <a:cubicBezTo>
                  <a:pt x="0" y="4350370"/>
                  <a:pt x="74488" y="4170590"/>
                  <a:pt x="207063" y="403803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55363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9ED291-7B59-DCA5-B232-8CF6727E7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F45DA-66DA-8E8A-8480-38A76A2FF2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0A1D04-3024-0918-14E9-DE5A65AC3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89EBAA-FFB9-952D-3645-54AE1BCDB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387357-D6CD-1447-7397-726929FB5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253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E32EA-5A30-1614-D143-618C883ED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04A2BF-7AB2-1BAA-E84D-2EBFBA4FD9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029DE-217B-6FBE-CEB1-48FFEE615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0A9107-48AE-17CF-6636-9E4284F60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D00D6E-3F6F-A5F1-F5CA-F425356B9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4347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27095-2020-A28A-D359-46C5DEC2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08CD91-0468-39E3-EBA4-783AEF4F5D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E7EB49-9793-0B05-3C6A-8432998C7D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7EFE90-098F-36FA-7BF5-151141BC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A9F102-1119-BD74-2C27-D17AC6641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F6518C-1C00-9735-C9AF-04B10D34D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887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C7B45-7DFC-626E-45CD-BE535D67F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29F1CB-E37A-0BD3-6012-A5637A599F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F04952-5E01-6114-2186-DAED436C79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4D418F-CFA0-9E3D-453F-30382A5143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D2E4AD-415D-9ADA-320F-140B3DE6EE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EDE460C-A088-9878-6A22-6A013394D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65DFC5-D2BE-4977-D5A9-06946895A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9A5A43-2C1F-A9CD-E9C7-FA49C51E3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30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DD1AA-2A75-183C-CA94-A6A3D2099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D0737A-6663-0883-D2EB-960D1377F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ED9BF1-57C5-5563-DC65-7887DCB52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E62170-2340-2896-15DD-16C34FB71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066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CB9221-C283-F112-DE28-FD2F9EE48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E8E444-4137-DB28-72EC-B12C23CD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194F9-A477-64EE-1932-4E862854F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7519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AF416-1199-5ECE-36B6-D53688B52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A36B79-9D48-139C-987D-5DA9FA9E2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2310D7-5273-D8B9-CC14-C881F4D0B8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6491D1-8DFB-25FA-FCA4-D0F33CAEB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C06A97-45FF-59E4-4916-ECC22CAD7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8817A0-7BB2-3AF3-CC38-79EDAB229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22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ABC11-361B-4222-3903-5928C8E8C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1DC9BA-23D4-02AB-8735-FC9591F881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B8E74F-D7AB-7DEA-6A16-B702DD93DD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878E54-2FAD-F825-ED4D-B73CEEBC9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78403C-72B6-5C00-E2E4-593FC38FD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32BA53-D224-461F-BD6E-6439C4E43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9195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C838ED-F542-B8FA-E174-C2B04C148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94E8E-5994-EDA2-0805-72C4888708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BCBAEE-1855-CC3D-96D2-643C1D6306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89CDD7-106A-4108-857F-3B203C49C4FC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C1832E-F7FF-0B55-B8C8-C136339105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6DCE21-9B79-7260-5CAA-C87930786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036E981-24C4-4D83-B803-C0F2A992B1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775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E857E8-7158-57C5-0CD1-F03D2AAA0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EE8D8-BDE1-7940-A77B-94F3F186491E}" type="slidenum">
              <a:rPr lang="en-GB" smtClean="0"/>
              <a:pPr/>
              <a:t>1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794187-6552-E91D-8BFF-CD8668DA22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83982"/>
            <a:ext cx="2000529" cy="876422"/>
          </a:xfrm>
          <a:prstGeom prst="rect">
            <a:avLst/>
          </a:prstGeom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D496B1AC-DFE1-309C-9C20-E84F2B73D80C}"/>
              </a:ext>
            </a:extLst>
          </p:cNvPr>
          <p:cNvSpPr txBox="1">
            <a:spLocks/>
          </p:cNvSpPr>
          <p:nvPr/>
        </p:nvSpPr>
        <p:spPr>
          <a:xfrm>
            <a:off x="471937" y="2411514"/>
            <a:ext cx="4561497" cy="17502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33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Talk</a:t>
            </a:r>
          </a:p>
          <a:p>
            <a:endParaRPr lang="en-US" sz="4533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w era </a:t>
            </a:r>
            <a:r>
              <a:rPr lang="en-US" sz="240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Market </a:t>
            </a:r>
            <a:r>
              <a:rPr lang="en-US" sz="24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240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elligence</a:t>
            </a:r>
            <a:endParaRPr lang="en-US" sz="24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02EACC9-FD90-7B91-DF95-3507665A4147}"/>
              </a:ext>
            </a:extLst>
          </p:cNvPr>
          <p:cNvSpPr txBox="1">
            <a:spLocks/>
          </p:cNvSpPr>
          <p:nvPr/>
        </p:nvSpPr>
        <p:spPr>
          <a:xfrm>
            <a:off x="673271" y="4887934"/>
            <a:ext cx="4561499" cy="25950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November 2024</a:t>
            </a:r>
          </a:p>
        </p:txBody>
      </p:sp>
    </p:spTree>
    <p:extLst>
      <p:ext uri="{BB962C8B-B14F-4D97-AF65-F5344CB8AC3E}">
        <p14:creationId xmlns:p14="http://schemas.microsoft.com/office/powerpoint/2010/main" val="1019282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3AADCD-5EDF-DB90-7A6C-DA575597B4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6EE8D8-BDE1-7940-A77B-94F3F186491E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C08612D4-7F3C-E274-0176-03F693E82E74}"/>
              </a:ext>
            </a:extLst>
          </p:cNvPr>
          <p:cNvSpPr txBox="1">
            <a:spLocks/>
          </p:cNvSpPr>
          <p:nvPr/>
        </p:nvSpPr>
        <p:spPr>
          <a:xfrm>
            <a:off x="433642" y="1119915"/>
            <a:ext cx="6855921" cy="50074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an </a:t>
            </a:r>
            <a:r>
              <a:rPr lang="en-US" sz="2400" b="1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Agent </a:t>
            </a:r>
            <a:r>
              <a:rPr lang="en-US" sz="24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is connected to huge data sources can: </a:t>
            </a:r>
          </a:p>
          <a:p>
            <a:pPr marL="0" indent="0">
              <a:buNone/>
            </a:pPr>
            <a:endParaRPr lang="en-US" sz="24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insights about the energy markets for short and long term.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24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wer questions about past present, and future conditions based on history and our forecast tools.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24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cases in our apps on-demand for users. 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64CE0661-374A-DD89-8B9B-7229E4C2108A}"/>
              </a:ext>
            </a:extLst>
          </p:cNvPr>
          <p:cNvSpPr txBox="1">
            <a:spLocks/>
          </p:cNvSpPr>
          <p:nvPr/>
        </p:nvSpPr>
        <p:spPr>
          <a:xfrm>
            <a:off x="274227" y="224041"/>
            <a:ext cx="6760329" cy="4399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 sz="3200" dirty="0">
                <a:solidFill>
                  <a:srgbClr val="0923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is PowerTalk??</a:t>
            </a:r>
            <a:endParaRPr lang="en-US" sz="3200" dirty="0">
              <a:solidFill>
                <a:srgbClr val="0923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A robot and a solar panel&#10;&#10;Description automatically generated with medium confidence">
            <a:extLst>
              <a:ext uri="{FF2B5EF4-FFF2-40B4-BE49-F238E27FC236}">
                <a16:creationId xmlns:a16="http://schemas.microsoft.com/office/drawing/2014/main" id="{D3A74261-7EE1-2EB7-1F6F-AB88666B6B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10" y="1474236"/>
            <a:ext cx="3610947" cy="3610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3774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3AADCD-5EDF-DB90-7A6C-DA575597B4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6EE8D8-BDE1-7940-A77B-94F3F186491E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C08612D4-7F3C-E274-0176-03F693E82E74}"/>
              </a:ext>
            </a:extLst>
          </p:cNvPr>
          <p:cNvSpPr txBox="1">
            <a:spLocks/>
          </p:cNvSpPr>
          <p:nvPr/>
        </p:nvSpPr>
        <p:spPr>
          <a:xfrm>
            <a:off x="433643" y="1119915"/>
            <a:ext cx="7413402" cy="50074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Hey PowerTalk, could you tell me what was the maximum LMP of PJM in 2023?”</a:t>
            </a:r>
          </a:p>
          <a:p>
            <a:endParaRPr lang="en-US" sz="20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Hey PowerTalk please run a congestion IQ case for tomorrow, considering a high demand scenario for ERCOT? And tell me about North hub LMPs”</a:t>
            </a:r>
          </a:p>
          <a:p>
            <a:endParaRPr lang="en-US" sz="20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ould you tell me what to expect in the energy market for the next 10 years?”</a:t>
            </a:r>
          </a:p>
          <a:p>
            <a:pPr marL="0" indent="0">
              <a:buNone/>
            </a:pPr>
            <a:endParaRPr lang="en-US" sz="20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092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ould you tell me what was the range of bids for Bat Cave power plant last month?”</a:t>
            </a:r>
          </a:p>
          <a:p>
            <a:pPr marL="0" indent="0">
              <a:buNone/>
            </a:pPr>
            <a:endParaRPr lang="en-US" sz="20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400" dirty="0">
              <a:solidFill>
                <a:srgbClr val="092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64CE0661-374A-DD89-8B9B-7229E4C2108A}"/>
              </a:ext>
            </a:extLst>
          </p:cNvPr>
          <p:cNvSpPr txBox="1">
            <a:spLocks/>
          </p:cNvSpPr>
          <p:nvPr/>
        </p:nvSpPr>
        <p:spPr>
          <a:xfrm>
            <a:off x="274227" y="224041"/>
            <a:ext cx="6760329" cy="4399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GB" sz="3200" dirty="0">
                <a:solidFill>
                  <a:srgbClr val="0923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 Cases Examples</a:t>
            </a:r>
            <a:endParaRPr lang="en-US" sz="3200" dirty="0">
              <a:solidFill>
                <a:srgbClr val="0923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 descr="A diagram of energy trading&#10;&#10;Description automatically generated">
            <a:extLst>
              <a:ext uri="{FF2B5EF4-FFF2-40B4-BE49-F238E27FC236}">
                <a16:creationId xmlns:a16="http://schemas.microsoft.com/office/drawing/2014/main" id="{07C05CA0-9064-F090-422C-04B968543B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3" r="37388"/>
          <a:stretch/>
        </p:blipFill>
        <p:spPr>
          <a:xfrm>
            <a:off x="8147862" y="1119915"/>
            <a:ext cx="3501975" cy="337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134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FteF5MosYioc1.BgOn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nOJeybS.ymPLkYkoshb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ae87f501-3025-4ed4-90da-080ba37c525d}" enabled="0" method="" siteId="{ae87f501-3025-4ed4-90da-080ba37c525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518</TotalTime>
  <Words>154</Words>
  <Application>Microsoft Office PowerPoint</Application>
  <PresentationFormat>Widescreen</PresentationFormat>
  <Paragraphs>2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ptos</vt:lpstr>
      <vt:lpstr>Aptos Display</vt:lpstr>
      <vt:lpstr>Arial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zcaya, Luis</dc:creator>
  <cp:lastModifiedBy>Vizcaya, Luis</cp:lastModifiedBy>
  <cp:revision>48</cp:revision>
  <dcterms:created xsi:type="dcterms:W3CDTF">2024-09-06T17:23:31Z</dcterms:created>
  <dcterms:modified xsi:type="dcterms:W3CDTF">2024-11-14T20:41:31Z</dcterms:modified>
</cp:coreProperties>
</file>